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461" r:id="rId5"/>
    <p:sldId id="639" r:id="rId6"/>
    <p:sldId id="872" r:id="rId7"/>
    <p:sldId id="873" r:id="rId8"/>
    <p:sldId id="874" r:id="rId9"/>
    <p:sldId id="875" r:id="rId10"/>
    <p:sldId id="876" r:id="rId11"/>
    <p:sldId id="734" r:id="rId12"/>
    <p:sldId id="364" r:id="rId13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2370" y="-91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2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xmlns="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ntro 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ete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zich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erkte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zwakte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nteroperabiliteit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B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eheer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A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an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lag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xmlns="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terkte zwakt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GU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D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eployment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nteroperabilitei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he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packag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running</a:t>
            </a:r>
            <a:endParaRPr kumimoji="0" lang="en-US" sz="30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update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 de sla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2048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341</TotalTime>
  <Words>91</Words>
  <Application>Microsoft Office PowerPoint</Application>
  <PresentationFormat>On-screen Show (4:3)</PresentationFormat>
  <Paragraphs>43</Paragraphs>
  <Slides>9</Slides>
  <Notes>1</Notes>
  <HiddenSlides>5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CGI-beet-PPT-template_EN</vt:lpstr>
      <vt:lpstr>JavaFX  (not so) new GUI for Java</vt:lpstr>
      <vt:lpstr>Agenda</vt:lpstr>
      <vt:lpstr>Overzicht</vt:lpstr>
      <vt:lpstr>Sterkte zwakte</vt:lpstr>
      <vt:lpstr>Interoperabiliteit</vt:lpstr>
      <vt:lpstr>Beheer</vt:lpstr>
      <vt:lpstr>Demos</vt:lpstr>
      <vt:lpstr>Aan de slag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971</cp:revision>
  <cp:lastPrinted>2016-01-15T15:12:31Z</cp:lastPrinted>
  <dcterms:created xsi:type="dcterms:W3CDTF">2012-12-22T14:05:29Z</dcterms:created>
  <dcterms:modified xsi:type="dcterms:W3CDTF">2016-07-12T11:49:42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